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0" d="100"/>
          <a:sy n="80" d="100"/>
        </p:scale>
        <p:origin x="390" y="78"/>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575555">
                <a:lumMod val="20000"/>
                <a:lumOff val="8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4A7E9041-6A89-44B4-BD51-E6FEA7331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9B124354-A942-456F-B014-879753FD0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6EA0A749-E7F0-4CC5-AB8F-DF3C7BE90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4AF06A28-DBEC-4019-AEE8-E54E849FD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D60C902-835B-4A00-A4F9-A37198F24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7DCD8B79-0F4F-49AF-961C-62E065C50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5490E4BD-F78B-4588-9C7F-8ED396D7B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C49372FA-F07C-4E37-B512-4735FBB62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FB8DE0C-1040-4A2B-9D3E-1F3607E292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7B1D59E-9E3A-4C77-A1A0-9DF2CA820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F4080A8-FEDA-48F6-B8B7-EFDB8ABB9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EC3AE4F-9D36-4A97-A8F9-76EF32DE8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1DE61C40-8446-4174-97A0-FB070EED5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BBC1DD87-608C-44C4-ACAF-1A59382AE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EC4FEE9C-FCB0-40F4-9E26-63DDAFCC5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BFEE4D96-DDBD-4297-BA16-1A2893AAA9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F4E7EAD-C87D-4AE8-9ABA-2808DAB51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9E372880-705C-443C-8374-E3FE7483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398DD10D-9AF2-4DB9-80E0-C9D511849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BC60E7EE-248D-4E0E-8F74-FF9E9BF41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9D13B65-D850-43AF-8AF4-C200F2A29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15351B08-0FB9-4543-AC2E-45DE06C53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39B50D0-A3F3-45CD-A8A6-7303AD8CB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E425C08C-C569-4D17-B057-649B2D3EB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412CF5D4-A143-4E10-903F-96C9B0F611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826BC356-8881-4FDC-8006-A6CCCD7AD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E703B959-BEAC-4F3A-9CF5-882C8F70C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AA89D55-4DE1-4D4D-95AA-E166BCEC3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99514D39-0B15-4360-8E66-8A1EF9FB2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94C43797-47B2-4902-A46E-16505F2E9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FD297D39-33C0-4E32-B420-001F4CD00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EA28A26F-AE24-4161-917C-1497882BF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4D570254-B240-47BE-9D13-5FF2082298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2D0EE4A4-C0D8-4DCA-9FEE-3C31DCD60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FFD0AAF4-F739-4557-8355-B66F85A48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EF082458-5C2D-4C72-BE16-5F4718F4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3DBD13A8-E322-4785-B0FF-BB516014F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DCAB9140-94FE-40F8-8AB7-E241CF16CF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A4268AA1-1AA4-4851-99AD-71D4E01EF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C6D13C3-59B8-4989-9F6F-6A2EC0139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FAECB2C0-5BA2-429B-A2F5-5E1B34D46D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212D59C1-D64B-4882-93F5-EFD1B05E7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F0DF60DC-B8B1-4C33-8AD9-F4B865999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E13AD930-EF56-4C96-BC35-AA52A6E12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331CF912-143A-455B-AE0D-D5CC806FF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DC1A3BE5-8778-46F7-9EF8-DE0D75C3A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4D207D4B-D839-4469-9AFC-A955ABF8E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E3546A3A-5B2F-496B-8FC0-13CBC0411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2DF1B22F-180E-4F3C-80F9-1F7A0ED53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BFDA-4C69-8E79-A083B7EFBA29}"/>
                </c:ext>
              </c:extLst>
            </c:dLbl>
            <c:dLbl>
              <c:idx val="49"/>
              <c:tx>
                <c:rich>
                  <a:bodyPr/>
                  <a:lstStyle/>
                  <a:p>
                    <a:fld id="{BECB598B-DB8B-4DE3-80C5-C2BB18E03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E23E-4D01-86F0-E35F2005B599}"/>
                </c:ext>
              </c:extLst>
            </c:dLbl>
            <c:dLbl>
              <c:idx val="50"/>
              <c:tx>
                <c:rich>
                  <a:bodyPr/>
                  <a:lstStyle/>
                  <a:p>
                    <a:fld id="{ECDAF2FB-38CA-433E-93E1-24450E957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E23E-4D01-86F0-E35F2005B599}"/>
                </c:ext>
              </c:extLst>
            </c:dLbl>
            <c:dLbl>
              <c:idx val="51"/>
              <c:tx>
                <c:rich>
                  <a:bodyPr/>
                  <a:lstStyle/>
                  <a:p>
                    <a:fld id="{F5DD0BD5-9149-4800-96F3-7C9605B57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E23E-4D01-86F0-E35F2005B599}"/>
                </c:ext>
              </c:extLst>
            </c:dLbl>
            <c:dLbl>
              <c:idx val="52"/>
              <c:tx>
                <c:rich>
                  <a:bodyPr/>
                  <a:lstStyle/>
                  <a:p>
                    <a:fld id="{3B68EC8B-287E-4EDD-B1C7-3580E3F53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E23E-4D01-86F0-E35F2005B599}"/>
                </c:ext>
              </c:extLst>
            </c:dLbl>
            <c:dLbl>
              <c:idx val="53"/>
              <c:tx>
                <c:rich>
                  <a:bodyPr/>
                  <a:lstStyle/>
                  <a:p>
                    <a:fld id="{A4F0A449-6E2A-406B-A73B-FCC72289C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E23E-4D01-86F0-E35F2005B599}"/>
                </c:ext>
              </c:extLst>
            </c:dLbl>
            <c:dLbl>
              <c:idx val="54"/>
              <c:tx>
                <c:rich>
                  <a:bodyPr/>
                  <a:lstStyle/>
                  <a:p>
                    <a:fld id="{3D672A52-979B-438E-BFA5-8B2AB063C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E23E-4D01-86F0-E35F2005B599}"/>
                </c:ext>
              </c:extLst>
            </c:dLbl>
            <c:dLbl>
              <c:idx val="55"/>
              <c:tx>
                <c:rich>
                  <a:bodyPr/>
                  <a:lstStyle/>
                  <a:p>
                    <a:fld id="{095FAC52-1B55-4BC5-A922-52CAD4BB3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E23E-4D01-86F0-E35F2005B599}"/>
                </c:ext>
              </c:extLst>
            </c:dLbl>
            <c:dLbl>
              <c:idx val="56"/>
              <c:tx>
                <c:rich>
                  <a:bodyPr/>
                  <a:lstStyle/>
                  <a:p>
                    <a:fld id="{5BDED83A-17F4-49B1-9A38-6858EF1A9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E23E-4D01-86F0-E35F2005B599}"/>
                </c:ext>
              </c:extLst>
            </c:dLbl>
            <c:dLbl>
              <c:idx val="57"/>
              <c:tx>
                <c:rich>
                  <a:bodyPr/>
                  <a:lstStyle/>
                  <a:p>
                    <a:fld id="{34F33BFB-69AF-458C-9CD1-300F7A4327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E23E-4D01-86F0-E35F2005B599}"/>
                </c:ext>
              </c:extLst>
            </c:dLbl>
            <c:dLbl>
              <c:idx val="58"/>
              <c:tx>
                <c:rich>
                  <a:bodyPr/>
                  <a:lstStyle/>
                  <a:p>
                    <a:fld id="{400714CE-E394-4FE0-9091-86B524D4B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E23E-4D01-86F0-E35F2005B599}"/>
                </c:ext>
              </c:extLst>
            </c:dLbl>
            <c:dLbl>
              <c:idx val="59"/>
              <c:tx>
                <c:rich>
                  <a:bodyPr/>
                  <a:lstStyle/>
                  <a:p>
                    <a:fld id="{E5D091AC-5028-4F3C-BBD2-AFFE3C746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E23E-4D01-86F0-E35F2005B59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61</c:f>
              <c:numCache>
                <c:formatCode>General</c:formatCode>
                <c:ptCount val="60"/>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pt idx="12">
                  <c:v>0.35859015489192997</c:v>
                </c:pt>
                <c:pt idx="13">
                  <c:v>0.28333992650001033</c:v>
                </c:pt>
                <c:pt idx="14">
                  <c:v>0.29342824352517333</c:v>
                </c:pt>
                <c:pt idx="15">
                  <c:v>0.3767079555953935</c:v>
                </c:pt>
                <c:pt idx="16">
                  <c:v>0.35576941510982935</c:v>
                </c:pt>
                <c:pt idx="17">
                  <c:v>0.33458705342225908</c:v>
                </c:pt>
                <c:pt idx="18">
                  <c:v>0.4394644526787459</c:v>
                </c:pt>
                <c:pt idx="19">
                  <c:v>0.36506810261934425</c:v>
                </c:pt>
                <c:pt idx="20">
                  <c:v>0.34846938884292439</c:v>
                </c:pt>
                <c:pt idx="21">
                  <c:v>0.38539975959105144</c:v>
                </c:pt>
                <c:pt idx="22">
                  <c:v>0.3543668689582149</c:v>
                </c:pt>
                <c:pt idx="23">
                  <c:v>0.37943822331480437</c:v>
                </c:pt>
                <c:pt idx="24">
                  <c:v>0.35859015489192997</c:v>
                </c:pt>
                <c:pt idx="25">
                  <c:v>0.28333992650001033</c:v>
                </c:pt>
                <c:pt idx="26">
                  <c:v>0.29342824352517333</c:v>
                </c:pt>
                <c:pt idx="27">
                  <c:v>0.3767079555953935</c:v>
                </c:pt>
                <c:pt idx="28">
                  <c:v>0.35576941510982935</c:v>
                </c:pt>
                <c:pt idx="29">
                  <c:v>0.33458705342225908</c:v>
                </c:pt>
                <c:pt idx="30">
                  <c:v>0.4394644526787459</c:v>
                </c:pt>
                <c:pt idx="31">
                  <c:v>0.36506810261934425</c:v>
                </c:pt>
                <c:pt idx="32">
                  <c:v>0.34846938884292439</c:v>
                </c:pt>
                <c:pt idx="33">
                  <c:v>0.38539975959105144</c:v>
                </c:pt>
                <c:pt idx="34">
                  <c:v>0.3543668689582149</c:v>
                </c:pt>
                <c:pt idx="35">
                  <c:v>0.37943822331480437</c:v>
                </c:pt>
                <c:pt idx="36">
                  <c:v>0.35859015489192997</c:v>
                </c:pt>
                <c:pt idx="37">
                  <c:v>0.28333992650001033</c:v>
                </c:pt>
                <c:pt idx="38">
                  <c:v>0.29342824352517333</c:v>
                </c:pt>
                <c:pt idx="39">
                  <c:v>0.3767079555953935</c:v>
                </c:pt>
                <c:pt idx="40">
                  <c:v>0.35576941510982935</c:v>
                </c:pt>
                <c:pt idx="41">
                  <c:v>0.33458705342225908</c:v>
                </c:pt>
                <c:pt idx="42">
                  <c:v>0.4394644526787459</c:v>
                </c:pt>
                <c:pt idx="43">
                  <c:v>0.36506810261934425</c:v>
                </c:pt>
                <c:pt idx="44">
                  <c:v>0.34846938884292439</c:v>
                </c:pt>
                <c:pt idx="45">
                  <c:v>0.38539975959105144</c:v>
                </c:pt>
                <c:pt idx="46">
                  <c:v>0.3543668689582149</c:v>
                </c:pt>
                <c:pt idx="47">
                  <c:v>0.37943822331480437</c:v>
                </c:pt>
                <c:pt idx="48">
                  <c:v>0.35859015489192997</c:v>
                </c:pt>
                <c:pt idx="49">
                  <c:v>0.28333992650001033</c:v>
                </c:pt>
                <c:pt idx="50">
                  <c:v>0.51329999999999998</c:v>
                </c:pt>
                <c:pt idx="51">
                  <c:v>0.37369999999999998</c:v>
                </c:pt>
                <c:pt idx="52">
                  <c:v>0.46460000000000001</c:v>
                </c:pt>
                <c:pt idx="53">
                  <c:v>0.37369999999999998</c:v>
                </c:pt>
                <c:pt idx="54">
                  <c:v>0.46460000000000001</c:v>
                </c:pt>
                <c:pt idx="55">
                  <c:v>0.39600000000000002</c:v>
                </c:pt>
                <c:pt idx="56">
                  <c:v>0.26029999999999998</c:v>
                </c:pt>
                <c:pt idx="57">
                  <c:v>0.2636</c:v>
                </c:pt>
                <c:pt idx="58">
                  <c:v>0.3755</c:v>
                </c:pt>
                <c:pt idx="59">
                  <c:v>0.37943822331480437</c:v>
                </c:pt>
              </c:numCache>
            </c:numRef>
          </c:xVal>
          <c:yVal>
            <c:numRef>
              <c:f>Sheet1!$B$2:$B$61</c:f>
              <c:numCache>
                <c:formatCode>General</c:formatCode>
                <c:ptCount val="60"/>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pt idx="12">
                  <c:v>5592.9191919191917</c:v>
                </c:pt>
                <c:pt idx="13">
                  <c:v>1875.4545454545455</c:v>
                </c:pt>
                <c:pt idx="14">
                  <c:v>1048.1805555555557</c:v>
                </c:pt>
                <c:pt idx="15">
                  <c:v>5233.26</c:v>
                </c:pt>
                <c:pt idx="16">
                  <c:v>12126.54</c:v>
                </c:pt>
                <c:pt idx="17">
                  <c:v>2844.2033898305085</c:v>
                </c:pt>
                <c:pt idx="18">
                  <c:v>4225.3</c:v>
                </c:pt>
                <c:pt idx="19">
                  <c:v>2343.6853932584268</c:v>
                </c:pt>
                <c:pt idx="20">
                  <c:v>3179.5444444444443</c:v>
                </c:pt>
                <c:pt idx="21">
                  <c:v>2054.3978494623657</c:v>
                </c:pt>
                <c:pt idx="22">
                  <c:v>6490.878787878788</c:v>
                </c:pt>
                <c:pt idx="23">
                  <c:v>3185.806818181818</c:v>
                </c:pt>
                <c:pt idx="24">
                  <c:v>5592.9191919191917</c:v>
                </c:pt>
                <c:pt idx="25">
                  <c:v>1875.4545454545455</c:v>
                </c:pt>
                <c:pt idx="26">
                  <c:v>1048.1805555555557</c:v>
                </c:pt>
                <c:pt idx="27">
                  <c:v>5233.26</c:v>
                </c:pt>
                <c:pt idx="28">
                  <c:v>12126.54</c:v>
                </c:pt>
                <c:pt idx="29">
                  <c:v>2844.2033898305085</c:v>
                </c:pt>
                <c:pt idx="30">
                  <c:v>4225.3</c:v>
                </c:pt>
                <c:pt idx="31">
                  <c:v>2343.6853932584268</c:v>
                </c:pt>
                <c:pt idx="32">
                  <c:v>3179.5444444444443</c:v>
                </c:pt>
                <c:pt idx="33">
                  <c:v>2054.3978494623657</c:v>
                </c:pt>
                <c:pt idx="34">
                  <c:v>6490.878787878788</c:v>
                </c:pt>
                <c:pt idx="35">
                  <c:v>3185.806818181818</c:v>
                </c:pt>
                <c:pt idx="36">
                  <c:v>5592.9191919191917</c:v>
                </c:pt>
                <c:pt idx="37">
                  <c:v>1875.4545454545455</c:v>
                </c:pt>
                <c:pt idx="38">
                  <c:v>1048.1805555555557</c:v>
                </c:pt>
                <c:pt idx="39">
                  <c:v>5233.26</c:v>
                </c:pt>
                <c:pt idx="40">
                  <c:v>12126.54</c:v>
                </c:pt>
                <c:pt idx="41">
                  <c:v>2844.2033898305085</c:v>
                </c:pt>
                <c:pt idx="42">
                  <c:v>4225.3</c:v>
                </c:pt>
                <c:pt idx="43">
                  <c:v>2343.6853932584268</c:v>
                </c:pt>
                <c:pt idx="44">
                  <c:v>3179.5444444444443</c:v>
                </c:pt>
                <c:pt idx="45">
                  <c:v>2054.3978494623657</c:v>
                </c:pt>
                <c:pt idx="46">
                  <c:v>6490.878787878788</c:v>
                </c:pt>
                <c:pt idx="47">
                  <c:v>3185.806818181818</c:v>
                </c:pt>
                <c:pt idx="48">
                  <c:v>5592.9191919191917</c:v>
                </c:pt>
                <c:pt idx="49">
                  <c:v>1875.4545454545455</c:v>
                </c:pt>
                <c:pt idx="50">
                  <c:v>3864.3258430000001</c:v>
                </c:pt>
                <c:pt idx="51">
                  <c:v>6818.56</c:v>
                </c:pt>
                <c:pt idx="52">
                  <c:v>5254.181818</c:v>
                </c:pt>
                <c:pt idx="53">
                  <c:v>6818.56</c:v>
                </c:pt>
                <c:pt idx="54">
                  <c:v>5254.181818</c:v>
                </c:pt>
                <c:pt idx="55">
                  <c:v>289.57142859999999</c:v>
                </c:pt>
                <c:pt idx="56">
                  <c:v>1291.204082</c:v>
                </c:pt>
                <c:pt idx="57">
                  <c:v>3076.8625000000002</c:v>
                </c:pt>
                <c:pt idx="58">
                  <c:v>884.72619050000003</c:v>
                </c:pt>
                <c:pt idx="59">
                  <c:v>3185.806818181818</c:v>
                </c:pt>
              </c:numCache>
            </c:numRef>
          </c:yVal>
          <c:bubbleSize>
            <c:numRef>
              <c:f>Sheet1!$C$2:$C$61</c:f>
              <c:numCache>
                <c:formatCode>General</c:formatCode>
                <c:ptCount val="60"/>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pt idx="12">
                  <c:v>341488.45175624354</c:v>
                </c:pt>
                <c:pt idx="13">
                  <c:v>113728.4408946522</c:v>
                </c:pt>
                <c:pt idx="14">
                  <c:v>51273.33066288336</c:v>
                </c:pt>
                <c:pt idx="15">
                  <c:v>313639.35810585105</c:v>
                </c:pt>
                <c:pt idx="16">
                  <c:v>751181.53431673557</c:v>
                </c:pt>
                <c:pt idx="17">
                  <c:v>107366.93821088226</c:v>
                </c:pt>
                <c:pt idx="18">
                  <c:v>204960.36185450436</c:v>
                </c:pt>
                <c:pt idx="19">
                  <c:v>127345.36020272713</c:v>
                </c:pt>
                <c:pt idx="20">
                  <c:v>179270.52707509385</c:v>
                </c:pt>
                <c:pt idx="21">
                  <c:v>112908.5647425897</c:v>
                </c:pt>
                <c:pt idx="22">
                  <c:v>398924.91645005572</c:v>
                </c:pt>
                <c:pt idx="23">
                  <c:v>167283.76409179933</c:v>
                </c:pt>
                <c:pt idx="24">
                  <c:v>341488.45175624354</c:v>
                </c:pt>
                <c:pt idx="25">
                  <c:v>113728.4408946522</c:v>
                </c:pt>
                <c:pt idx="26">
                  <c:v>51273.33066288336</c:v>
                </c:pt>
                <c:pt idx="27">
                  <c:v>313639.35810585105</c:v>
                </c:pt>
                <c:pt idx="28">
                  <c:v>751181.53431673557</c:v>
                </c:pt>
                <c:pt idx="29">
                  <c:v>107366.93821088226</c:v>
                </c:pt>
                <c:pt idx="30">
                  <c:v>204960.36185450436</c:v>
                </c:pt>
                <c:pt idx="31">
                  <c:v>127345.36020272713</c:v>
                </c:pt>
                <c:pt idx="32">
                  <c:v>179270.52707509385</c:v>
                </c:pt>
                <c:pt idx="33">
                  <c:v>112908.5647425897</c:v>
                </c:pt>
                <c:pt idx="34">
                  <c:v>398924.91645005572</c:v>
                </c:pt>
                <c:pt idx="35">
                  <c:v>167283.76409179933</c:v>
                </c:pt>
                <c:pt idx="36">
                  <c:v>341488.45175624354</c:v>
                </c:pt>
                <c:pt idx="37">
                  <c:v>113728.4408946522</c:v>
                </c:pt>
                <c:pt idx="38">
                  <c:v>51273.33066288336</c:v>
                </c:pt>
                <c:pt idx="39">
                  <c:v>313639.35810585105</c:v>
                </c:pt>
                <c:pt idx="40">
                  <c:v>751181.53431673557</c:v>
                </c:pt>
                <c:pt idx="41">
                  <c:v>107366.93821088226</c:v>
                </c:pt>
                <c:pt idx="42">
                  <c:v>204960.36185450436</c:v>
                </c:pt>
                <c:pt idx="43">
                  <c:v>127345.36020272713</c:v>
                </c:pt>
                <c:pt idx="44">
                  <c:v>179270.52707509385</c:v>
                </c:pt>
                <c:pt idx="45">
                  <c:v>112908.5647425897</c:v>
                </c:pt>
                <c:pt idx="46">
                  <c:v>398924.91645005572</c:v>
                </c:pt>
                <c:pt idx="47">
                  <c:v>167283.76409179933</c:v>
                </c:pt>
                <c:pt idx="48">
                  <c:v>341488.45175624354</c:v>
                </c:pt>
                <c:pt idx="49">
                  <c:v>113728.4408946522</c:v>
                </c:pt>
                <c:pt idx="50">
                  <c:v>152181.2942</c:v>
                </c:pt>
                <c:pt idx="51">
                  <c:v>194100.81599999999</c:v>
                </c:pt>
                <c:pt idx="52">
                  <c:v>28128.768599999999</c:v>
                </c:pt>
                <c:pt idx="53">
                  <c:v>194100.81599999999</c:v>
                </c:pt>
                <c:pt idx="54">
                  <c:v>28128.768599999999</c:v>
                </c:pt>
                <c:pt idx="55">
                  <c:v>1112.9369999999999</c:v>
                </c:pt>
                <c:pt idx="56">
                  <c:v>42544.964</c:v>
                </c:pt>
                <c:pt idx="57">
                  <c:v>164788.79999999999</c:v>
                </c:pt>
                <c:pt idx="58">
                  <c:v>42194.9853</c:v>
                </c:pt>
                <c:pt idx="59">
                  <c:v>167283.76409179933</c:v>
                </c:pt>
              </c:numCache>
            </c:numRef>
          </c:bubbleSize>
          <c:bubble3D val="0"/>
          <c:extLst>
            <c:ext xmlns:c15="http://schemas.microsoft.com/office/drawing/2012/chart" uri="{02D57815-91ED-43cb-92C2-25804820EDAC}">
              <c15:datalabelsRange>
                <c15:f>Sheet1!$E$2:$E$61</c15:f>
                <c15:dlblRangeCache>
                  <c:ptCount val="60"/>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pt idx="12">
                    <c:v>Findus Merluzzo Altro Findus Fish Bar 245GR</c:v>
                  </c:pt>
                  <c:pt idx="13">
                    <c:v>Findus Merluzzo D Alaska Chips Findus Big Burger 227GR</c:v>
                  </c:pt>
                  <c:pt idx="14">
                    <c:v>Findus Merluzzo D Alaska Standard Findus Big Burger 227GR</c:v>
                  </c:pt>
                  <c:pt idx="15">
                    <c:v>Findus Merluzzo E Spinaci Filetto Findus Croccole 300GR</c:v>
                  </c:pt>
                  <c:pt idx="16">
                    <c:v>Findus Merluzzo Filetto Findus Croccole 300GR</c:v>
                  </c:pt>
                  <c:pt idx="17">
                    <c:v>Findus Merluzzo Filetto Findus Croccole 600GR</c:v>
                  </c:pt>
                  <c:pt idx="18">
                    <c:v>Findus Merluzzo Filetto Findus Fish &amp; Crock 250GR</c:v>
                  </c:pt>
                  <c:pt idx="19">
                    <c:v>Findus Merluzzo Filetto Findus Fish Bar 240GR</c:v>
                  </c:pt>
                  <c:pt idx="20">
                    <c:v>Findus Merluzzo Semi Filetto Findus Croccole 300GR</c:v>
                  </c:pt>
                  <c:pt idx="21">
                    <c:v>Findus Merluzzo Senza Glutine Filetto Findus Croccole 250GR</c:v>
                  </c:pt>
                  <c:pt idx="22">
                    <c:v>Findus Platessa Filetto Findus Platessa 250GR</c:v>
                  </c:pt>
                  <c:pt idx="23">
                    <c:v>Findus Salmone Altro Findus Fish Bar 220GR</c:v>
                  </c:pt>
                  <c:pt idx="24">
                    <c:v>Findus Merluzzo Altro Findus Fish Bar 245GR</c:v>
                  </c:pt>
                  <c:pt idx="25">
                    <c:v>Findus Merluzzo D Alaska Chips Findus Big Burger 227GR</c:v>
                  </c:pt>
                  <c:pt idx="26">
                    <c:v>Findus Merluzzo D Alaska Standard Findus Big Burger 227GR</c:v>
                  </c:pt>
                  <c:pt idx="27">
                    <c:v>Findus Merluzzo E Spinaci Filetto Findus Croccole 300GR</c:v>
                  </c:pt>
                  <c:pt idx="28">
                    <c:v>Findus Merluzzo Filetto Findus Croccole 300GR</c:v>
                  </c:pt>
                  <c:pt idx="29">
                    <c:v>Findus Merluzzo Filetto Findus Croccole 600GR</c:v>
                  </c:pt>
                  <c:pt idx="30">
                    <c:v>Findus Merluzzo Filetto Findus Fish &amp; Crock 250GR</c:v>
                  </c:pt>
                  <c:pt idx="31">
                    <c:v>Findus Merluzzo Filetto Findus Fish Bar 240GR</c:v>
                  </c:pt>
                  <c:pt idx="32">
                    <c:v>Findus Merluzzo Semi Filetto Findus Croccole 300GR</c:v>
                  </c:pt>
                  <c:pt idx="33">
                    <c:v>Findus Merluzzo Senza Glutine Filetto Findus Croccole 250GR</c:v>
                  </c:pt>
                  <c:pt idx="34">
                    <c:v>Findus Platessa Filetto Findus Platessa 250GR</c:v>
                  </c:pt>
                  <c:pt idx="35">
                    <c:v>Findus Salmone Altro Findus Fish Bar 220GR</c:v>
                  </c:pt>
                  <c:pt idx="36">
                    <c:v>Findus Merluzzo Altro Findus Fish Bar 245GR</c:v>
                  </c:pt>
                  <c:pt idx="37">
                    <c:v>Findus Merluzzo D Alaska Chips Findus Big Burger 227GR</c:v>
                  </c:pt>
                  <c:pt idx="38">
                    <c:v>Findus Merluzzo D Alaska Standard Findus Big Burger 227GR</c:v>
                  </c:pt>
                  <c:pt idx="39">
                    <c:v>Findus Merluzzo E Spinaci Filetto Findus Croccole 300GR</c:v>
                  </c:pt>
                  <c:pt idx="40">
                    <c:v>Findus Merluzzo Filetto Findus Croccole 300GR</c:v>
                  </c:pt>
                  <c:pt idx="41">
                    <c:v>Findus Merluzzo Filetto Findus Croccole 600GR</c:v>
                  </c:pt>
                  <c:pt idx="42">
                    <c:v>Findus Merluzzo Filetto Findus Fish &amp; Crock 250GR</c:v>
                  </c:pt>
                  <c:pt idx="43">
                    <c:v>Findus Merluzzo Filetto Findus Fish Bar 240GR</c:v>
                  </c:pt>
                  <c:pt idx="44">
                    <c:v>Findus Merluzzo Semi Filetto Findus Croccole 300GR</c:v>
                  </c:pt>
                  <c:pt idx="45">
                    <c:v>Findus Merluzzo Senza Glutine Filetto Findus Croccole 250GR</c:v>
                  </c:pt>
                  <c:pt idx="46">
                    <c:v>Findus Platessa Filetto Findus Platessa 250GR</c:v>
                  </c:pt>
                  <c:pt idx="47">
                    <c:v>Findus Salmone Altro Findus Fish Bar 220GR</c:v>
                  </c:pt>
                  <c:pt idx="48">
                    <c:v>Findus Merluzzo Altro Findus Fish Bar 245GR</c:v>
                  </c:pt>
                  <c:pt idx="49">
                    <c:v>Findus Merluzzo D Alaska Chips Findus Big Burger 227GR</c:v>
                  </c:pt>
                  <c:pt idx="50">
                    <c:v>Findus Merluzzo D Alaska Standard Findus Big Burger 227GR</c:v>
                  </c:pt>
                  <c:pt idx="51">
                    <c:v>Findus Merluzzo E Spinaci Filetto Findus Croccole 300GR</c:v>
                  </c:pt>
                  <c:pt idx="52">
                    <c:v>Findus Merluzzo Filetto Findus Croccole 300GR</c:v>
                  </c:pt>
                  <c:pt idx="53">
                    <c:v>Findus Merluzzo Filetto Findus Croccole 600GR</c:v>
                  </c:pt>
                  <c:pt idx="54">
                    <c:v>Findus Merluzzo Filetto Findus Fish &amp; Crock 250GR</c:v>
                  </c:pt>
                  <c:pt idx="55">
                    <c:v>Findus Merluzzo Filetto Findus Fish Bar 240GR</c:v>
                  </c:pt>
                  <c:pt idx="56">
                    <c:v>Findus Merluzzo Semi Filetto Findus Croccole 300GR</c:v>
                  </c:pt>
                  <c:pt idx="57">
                    <c:v>Findus Merluzzo Senza Glutine Filetto Findus Croccole 250GR</c:v>
                  </c:pt>
                  <c:pt idx="58">
                    <c:v>Findus Platessa Filetto Findus Platessa 250GR</c:v>
                  </c:pt>
                  <c:pt idx="59">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044A8129-714F-4925-9557-FC858531A2E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4095B264-8FF8-4A3F-AD08-EE165A5CE942}"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ADEAB32-0DEE-4F35-BFAA-60AD06420C39}"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F014478C-1744-4940-9B65-402194A672B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1D53AF17-5772-42D6-973F-1441788CD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CE71D538-2BC4-41D0-B85D-B09D148ED3B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E89149E4-67C3-49F5-8E01-0FD347C89E9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108B476-FF76-4F1F-98C7-ADE0E7BD6EED}"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E607877A-6005-407E-AB0C-EEB6DEEAC2DF}"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819D9830-3A7B-40FA-A135-D96A796D0F6E}"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US"/>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06/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6/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6/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6/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6/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6/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6/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6/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6/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6/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6/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6/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6/10/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6/10/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047363"/>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6/10/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6/10/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6/10/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6/10/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6/10/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9654316"/>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6/10/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6/10/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7569004E-13CB-4752-B39D-2BEF8CE13196}">
  <ds:schemaRefs>
    <ds:schemaRef ds:uri="http://schemas.microsoft.com/sharepoint/v3/contenttype/fo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7</TotalTime>
  <Words>855</Words>
  <Application>Microsoft Office PowerPoint</Application>
  <PresentationFormat>On-screen Show (16:9)</PresentationFormat>
  <Paragraphs>276</Paragraphs>
  <Slides>8</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Brand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Aleaa SALAH</cp:lastModifiedBy>
  <cp:revision>17</cp:revision>
  <dcterms:created xsi:type="dcterms:W3CDTF">2024-07-05T14:32:36Z</dcterms:created>
  <dcterms:modified xsi:type="dcterms:W3CDTF">2025-06-10T19:4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